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</p:sldMasterIdLst>
  <p:notesMasterIdLst>
    <p:notesMasterId r:id="rId7"/>
  </p:notesMasterIdLst>
  <p:handoutMasterIdLst>
    <p:handoutMasterId r:id="rId8"/>
  </p:handoutMasterIdLst>
  <p:sldIdLst>
    <p:sldId id="258" r:id="rId5"/>
    <p:sldId id="259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3E3C1C-EBB9-4041-90A7-D4917CF6C4E5}" v="5" dt="2023-04-20T06:30:36.5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72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294" y="390"/>
      </p:cViewPr>
      <p:guideLst>
        <p:guide pos="2797"/>
        <p:guide orient="horz" pos="2160"/>
      </p:guideLst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obel, Christina (A-GSFE)" userId="S::christina.strobel@volkswagen-groupservices.com::81f43cb3-293c-49a2-b4a9-eb264e8c8987" providerId="AD" clId="Web-{CF3E3C1C-EBB9-4041-90A7-D4917CF6C4E5}"/>
    <pc:docChg chg="modSld">
      <pc:chgData name="Strobel, Christina (A-GSFE)" userId="S::christina.strobel@volkswagen-groupservices.com::81f43cb3-293c-49a2-b4a9-eb264e8c8987" providerId="AD" clId="Web-{CF3E3C1C-EBB9-4041-90A7-D4917CF6C4E5}" dt="2023-04-20T06:30:36.504" v="4" actId="20577"/>
      <pc:docMkLst>
        <pc:docMk/>
      </pc:docMkLst>
      <pc:sldChg chg="modSp">
        <pc:chgData name="Strobel, Christina (A-GSFE)" userId="S::christina.strobel@volkswagen-groupservices.com::81f43cb3-293c-49a2-b4a9-eb264e8c8987" providerId="AD" clId="Web-{CF3E3C1C-EBB9-4041-90A7-D4917CF6C4E5}" dt="2023-04-20T06:30:36.504" v="4" actId="20577"/>
        <pc:sldMkLst>
          <pc:docMk/>
          <pc:sldMk cId="2250677698" sldId="258"/>
        </pc:sldMkLst>
        <pc:spChg chg="mod">
          <ac:chgData name="Strobel, Christina (A-GSFE)" userId="S::christina.strobel@volkswagen-groupservices.com::81f43cb3-293c-49a2-b4a9-eb264e8c8987" providerId="AD" clId="Web-{CF3E3C1C-EBB9-4041-90A7-D4917CF6C4E5}" dt="2023-04-20T06:30:36.504" v="4" actId="20577"/>
          <ac:spMkLst>
            <pc:docMk/>
            <pc:sldMk cId="2250677698" sldId="258"/>
            <ac:spMk id="12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19.04.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in VWAG </a:t>
            </a:r>
            <a:r>
              <a:rPr lang="de-DE" dirty="0" err="1"/>
              <a:t>TheSans</a:t>
            </a:r>
            <a:r>
              <a:rPr lang="de-DE" dirty="0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19.04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19.04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19.04.20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19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0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uvisites01.wob.vw.vwg/sites/personalv2/ausbildung/default.aspx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>
          <a:xfrm>
            <a:off x="404813" y="1165623"/>
            <a:ext cx="11380788" cy="4967098"/>
          </a:xfrm>
        </p:spPr>
        <p:txBody>
          <a:bodyPr vert="horz" lIns="0" tIns="0" rIns="0" bIns="0" rtlCol="0" anchor="t">
            <a:noAutofit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endParaRPr lang="de-DE" sz="12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rzinformation: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/>
                <a:ea typeface="Calibri" panose="020F0502020204030204" pitchFamily="34" charset="0"/>
                <a:cs typeface="Calibri"/>
              </a:rPr>
              <a:t>Dein Ausbildungs- und Studienguide beantwortet allen Auszubildenden und Studenten sämtliche Fragen rund um die Ausbildung bzw. das Duale Studium und stellt damit einen Leitfaden für unterschiedliche Verhaltenssituationen dar.</a:t>
            </a:r>
            <a:b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200" dirty="0">
                <a:effectLst/>
                <a:latin typeface="Calibri"/>
                <a:ea typeface="Calibri" panose="020F0502020204030204" pitchFamily="34" charset="0"/>
                <a:cs typeface="Calibri"/>
              </a:rPr>
              <a:t>Bei offenen Fragen ist demnach zunächst im Ausbildungs- und Studienguide nachzuschlagen und erst dann der Bereich </a:t>
            </a:r>
            <a:r>
              <a:rPr lang="de-DE" sz="1200">
                <a:latin typeface="Calibri"/>
                <a:ea typeface="Calibri" panose="020F0502020204030204" pitchFamily="34" charset="0"/>
                <a:cs typeface="Calibri"/>
              </a:rPr>
              <a:t>Education Academy</a:t>
            </a:r>
            <a:r>
              <a:rPr lang="de-DE" sz="1200" dirty="0">
                <a:effectLst/>
                <a:latin typeface="Calibri"/>
                <a:ea typeface="Calibri" panose="020F0502020204030204" pitchFamily="34" charset="0"/>
                <a:cs typeface="Calibri"/>
              </a:rPr>
              <a:t> zu kontaktieren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e-DE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frufen des Ausbildungs- und Studienguide auf dem Teams Kanal: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ams Kanal „Azubi/Studenten Austausch“ öffnen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der linken Auswahlspalte unter „Information zum </a:t>
            </a:r>
            <a:r>
              <a:rPr lang="de-DE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ium_zur</a:t>
            </a: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usbildung““ den Reiter „Dateien“ anwählen.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6399" y="678119"/>
            <a:ext cx="9842124" cy="723275"/>
          </a:xfrm>
        </p:spPr>
        <p:txBody>
          <a:bodyPr/>
          <a:lstStyle/>
          <a:p>
            <a:r>
              <a:rPr lang="de-DE" dirty="0"/>
              <a:t>Anleitung Aufrufen des Ausbildungs- und Studienguide auf dem Teams Kana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C390400-BF37-4433-80DB-EA5CF9569F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043" y="3563237"/>
            <a:ext cx="3076575" cy="130683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EC33C23-F6F1-415A-98B2-84C799D78B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043" y="5357571"/>
            <a:ext cx="3190875" cy="401320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E36B2303-D39B-4EF7-A955-F508CC7A7B38}"/>
              </a:ext>
            </a:extLst>
          </p:cNvPr>
          <p:cNvSpPr/>
          <p:nvPr/>
        </p:nvSpPr>
        <p:spPr>
          <a:xfrm>
            <a:off x="2990802" y="5371850"/>
            <a:ext cx="542925" cy="26670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C5F143-CA59-4E37-8B76-9B907FBC87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294646"/>
            <a:ext cx="11380788" cy="5158355"/>
          </a:xfrm>
        </p:spPr>
        <p:txBody>
          <a:bodyPr/>
          <a:lstStyle/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 PDF-Datei „Dein Ausbildungs- und Studienguide“ aufrufen.   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83E32-6FB6-475E-B47F-83069F441E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19.04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8FCB0-C304-4E09-99F3-34D653D20E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903883-DF6C-4E33-B4EA-DDE408A994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982FF34-A8F8-43A1-A891-ED3684BB0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10" y="814023"/>
            <a:ext cx="9688215" cy="723275"/>
          </a:xfrm>
        </p:spPr>
        <p:txBody>
          <a:bodyPr/>
          <a:lstStyle/>
          <a:p>
            <a:r>
              <a:rPr lang="de-DE" dirty="0"/>
              <a:t>Anleitung Aufrufen des Ausbildungs- und Studienguide auf dem Teams Kana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326703-5DB9-4BE3-ACD2-054308F58B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043" y="1537298"/>
            <a:ext cx="3438525" cy="3079750"/>
          </a:xfrm>
          <a:prstGeom prst="rect">
            <a:avLst/>
          </a:prstGeo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E50C1261-5762-4608-94A4-F185DDF87832}"/>
              </a:ext>
            </a:extLst>
          </p:cNvPr>
          <p:cNvSpPr/>
          <p:nvPr/>
        </p:nvSpPr>
        <p:spPr>
          <a:xfrm>
            <a:off x="748043" y="3833224"/>
            <a:ext cx="2457450" cy="32385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CF4CE7C-3F33-49F8-8280-8A246C53F890}"/>
              </a:ext>
            </a:extLst>
          </p:cNvPr>
          <p:cNvSpPr txBox="1"/>
          <p:nvPr/>
        </p:nvSpPr>
        <p:spPr>
          <a:xfrm>
            <a:off x="383310" y="4851441"/>
            <a:ext cx="8491698" cy="1679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e Auszubildenden/Studenten haben Zugriff auf den Teams Kanal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rt sind alle wichtigen Informationen rund um das Thema Ausbildung zusammengestellt (z.B. Formulare, Ansprechpartner etc.)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e Zugänge schaltet der Bereich Aus- und Weiterbildung frei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e Einsatzplanung findet Ihr auf der Teamsite der Aus- und Weiterbildun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Link zu der Teamsite:</a:t>
            </a:r>
            <a:b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de-DE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https://auvisites01.wob.vw.vwg/sites/personalv2/ausbildung/default.aspx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6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40+00:00</RevIMDeletionDate>
    <RevIMExtends xmlns="dfc59f7a-37a9-489d-9c43-9cc60545c307">{"KSUClass":"b08d2dd9-dca0-46d6-9f78-da3ed92e22b8","Reclassified":"2023-04-28T07:34:24.708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F934489-07D3-4ADD-A4A7-18004EBAA2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f774c-69d5-4a75-a662-6105bd951a0d"/>
    <ds:schemaRef ds:uri="dfc59f7a-37a9-489d-9c43-9cc60545c3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F8FA2-DA35-4B7D-B8A0-1669E07BF73F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850b38d6-bd3e-452a-bfa5-ae28b2f3931f"/>
    <ds:schemaRef ds:uri="http://schemas.microsoft.com/office/2006/documentManagement/types"/>
    <ds:schemaRef ds:uri="a7192356-cb70-4a7b-a6d7-5b696f62eca6"/>
    <ds:schemaRef ds:uri="http://schemas.microsoft.com/office/2006/metadata/properties"/>
    <ds:schemaRef ds:uri="http://www.w3.org/XML/1998/namespace"/>
    <ds:schemaRef ds:uri="3c885244-b6dd-4b82-b45d-dc03263880bd"/>
    <ds:schemaRef ds:uri="dfc59f7a-37a9-489d-9c43-9cc60545c307"/>
    <ds:schemaRef ds:uri="363f774c-69d5-4a75-a662-6105bd951a0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TotalTime>0</TotalTime>
  <Words>226</Words>
  <Application>Microsoft Office PowerPoint</Application>
  <PresentationFormat>Breitbild</PresentationFormat>
  <Paragraphs>21</Paragraphs>
  <Slides>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VWAG_Master_16x9</vt:lpstr>
      <vt:lpstr>Anleitung Aufrufen des Ausbildungs- und Studienguide auf dem Teams Kanal</vt:lpstr>
      <vt:lpstr>Anleitung Aufrufen des Ausbildungs- und Studienguide auf dem Teams Kan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</dc:title>
  <dc:creator>Wagner, Sabine (A-GSZB)</dc:creator>
  <cp:lastModifiedBy>Wagner, Sabine (A-GSZB)</cp:lastModifiedBy>
  <cp:revision>6</cp:revision>
  <dcterms:created xsi:type="dcterms:W3CDTF">2022-07-22T10:39:02Z</dcterms:created>
  <dcterms:modified xsi:type="dcterms:W3CDTF">2023-04-20T06:30:41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30:58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f8750bbf-63ae-4b3c-922d-09d2654574bc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